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477" r:id="rId5"/>
    <p:sldId id="542" r:id="rId6"/>
    <p:sldId id="544" r:id="rId7"/>
    <p:sldId id="545" r:id="rId8"/>
    <p:sldId id="308" r:id="rId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5E048C3B-C860-0946-B8EB-EEA370C0C245}">
          <p14:sldIdLst>
            <p14:sldId id="477"/>
            <p14:sldId id="542"/>
            <p14:sldId id="544"/>
            <p14:sldId id="545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3699A"/>
    <a:srgbClr val="113F67"/>
    <a:srgbClr val="757BE6"/>
    <a:srgbClr val="E4D456"/>
    <a:srgbClr val="F15A7F"/>
    <a:srgbClr val="89EC75"/>
    <a:srgbClr val="04529C"/>
    <a:srgbClr val="316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307F5A-D574-4C14-867D-5DE858C4044A}" v="4" dt="2020-01-07T12:47:40.210"/>
    <p1510:client id="{38312769-C840-4D06-B6C9-59B259549003}" v="146" dt="2020-01-22T10:35:20.783"/>
    <p1510:client id="{9D664EEF-1CA7-4B54-8CD7-06107DBFB3AE}" v="11" dt="2020-01-18T18:21:00.718"/>
    <p1510:client id="{AD50A7E3-8C3D-4AF7-B3B8-A8486E60E09A}" v="428" dt="2020-01-17T18:01:51.293"/>
    <p1510:client id="{DB3B056A-862B-47DF-BB47-44F74BA49139}" v="802" dt="2020-01-07T11:02:42.603"/>
    <p1510:client id="{DDA335D0-ED4A-49DD-945A-E0F0E08834E0}" v="16" dt="2020-01-07T13:05:45.6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7" autoAdjust="0"/>
    <p:restoredTop sz="88169" autoAdjust="0"/>
  </p:normalViewPr>
  <p:slideViewPr>
    <p:cSldViewPr snapToGrid="0">
      <p:cViewPr varScale="1">
        <p:scale>
          <a:sx n="108" d="100"/>
          <a:sy n="108" d="100"/>
        </p:scale>
        <p:origin x="768" y="160"/>
      </p:cViewPr>
      <p:guideLst>
        <p:guide orient="horz" pos="2160"/>
        <p:guide pos="3840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Amores Alvarez" userId="S::damoresa@everis.com::ff5997fe-a964-45d1-b9c2-852633b5230a" providerId="AD" clId="Web-{1C307F5A-D574-4C14-867D-5DE858C4044A}"/>
    <pc:docChg chg="modSld">
      <pc:chgData name="Daniel Amores Alvarez" userId="S::damoresa@everis.com::ff5997fe-a964-45d1-b9c2-852633b5230a" providerId="AD" clId="Web-{1C307F5A-D574-4C14-867D-5DE858C4044A}" dt="2020-01-07T12:47:34.397" v="1"/>
      <pc:docMkLst>
        <pc:docMk/>
      </pc:docMkLst>
      <pc:sldChg chg="modSp">
        <pc:chgData name="Daniel Amores Alvarez" userId="S::damoresa@everis.com::ff5997fe-a964-45d1-b9c2-852633b5230a" providerId="AD" clId="Web-{1C307F5A-D574-4C14-867D-5DE858C4044A}" dt="2020-01-07T12:47:34.397" v="1"/>
        <pc:sldMkLst>
          <pc:docMk/>
          <pc:sldMk cId="2187780083" sldId="541"/>
        </pc:sldMkLst>
        <pc:graphicFrameChg chg="mod modGraphic">
          <ac:chgData name="Daniel Amores Alvarez" userId="S::damoresa@everis.com::ff5997fe-a964-45d1-b9c2-852633b5230a" providerId="AD" clId="Web-{1C307F5A-D574-4C14-867D-5DE858C4044A}" dt="2020-01-07T12:47:34.397" v="1"/>
          <ac:graphicFrameMkLst>
            <pc:docMk/>
            <pc:sldMk cId="2187780083" sldId="541"/>
            <ac:graphicFrameMk id="3" creationId="{63F1EBA3-3167-4409-BEDE-BAFBEFCBB7F4}"/>
          </ac:graphicFrameMkLst>
        </pc:graphicFrameChg>
      </pc:sldChg>
    </pc:docChg>
  </pc:docChgLst>
  <pc:docChgLst>
    <pc:chgData name="Jordi Gil Nieto" userId="dc92af6d-8bfc-4cf9-a920-242e8fde7056" providerId="ADAL" clId="{6FC6E936-F934-4CAF-9978-4FF4914385E3}"/>
    <pc:docChg chg="undo redo custSel addSld delSld modSld sldOrd modSection">
      <pc:chgData name="Jordi Gil Nieto" userId="dc92af6d-8bfc-4cf9-a920-242e8fde7056" providerId="ADAL" clId="{6FC6E936-F934-4CAF-9978-4FF4914385E3}" dt="2019-04-17T09:53:57.221" v="4185" actId="5793"/>
      <pc:docMkLst>
        <pc:docMk/>
      </pc:docMkLst>
      <pc:sldChg chg="modSp">
        <pc:chgData name="Jordi Gil Nieto" userId="dc92af6d-8bfc-4cf9-a920-242e8fde7056" providerId="ADAL" clId="{6FC6E936-F934-4CAF-9978-4FF4914385E3}" dt="2019-04-04T10:31:27.642" v="4159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6FC6E936-F934-4CAF-9978-4FF4914385E3}" dt="2019-04-04T10:31:27.642" v="415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addSp delSp modSp">
        <pc:chgData name="Jordi Gil Nieto" userId="dc92af6d-8bfc-4cf9-a920-242e8fde7056" providerId="ADAL" clId="{6FC6E936-F934-4CAF-9978-4FF4914385E3}" dt="2019-04-01T16:03:10.022" v="215" actId="14100"/>
        <pc:sldMkLst>
          <pc:docMk/>
          <pc:sldMk cId="1863133937" sldId="477"/>
        </pc:sldMkLst>
        <pc:spChg chg="add del">
          <ac:chgData name="Jordi Gil Nieto" userId="dc92af6d-8bfc-4cf9-a920-242e8fde7056" providerId="ADAL" clId="{6FC6E936-F934-4CAF-9978-4FF4914385E3}" dt="2019-04-01T15:50:39.189" v="79"/>
          <ac:spMkLst>
            <pc:docMk/>
            <pc:sldMk cId="1863133937" sldId="477"/>
            <ac:spMk id="2" creationId="{A95A7D2D-5DA1-4AD9-A176-41888A6E0AEE}"/>
          </ac:spMkLst>
        </pc:spChg>
        <pc:spChg chg="mod">
          <ac:chgData name="Jordi Gil Nieto" userId="dc92af6d-8bfc-4cf9-a920-242e8fde7056" providerId="ADAL" clId="{6FC6E936-F934-4CAF-9978-4FF4914385E3}" dt="2019-04-01T15:46:30.643" v="30" actId="403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5:48:08.959" v="75" actId="20577"/>
          <ac:spMkLst>
            <pc:docMk/>
            <pc:sldMk cId="1863133937" sldId="477"/>
            <ac:spMk id="11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1T15:47:28.839" v="66" actId="1036"/>
          <ac:spMkLst>
            <pc:docMk/>
            <pc:sldMk cId="1863133937" sldId="477"/>
            <ac:spMk id="12" creationId="{C0FD4F4F-0130-4D9C-8FD2-DC97ED6CEC02}"/>
          </ac:spMkLst>
        </pc:spChg>
        <pc:spChg chg="mod ord">
          <ac:chgData name="Jordi Gil Nieto" userId="dc92af6d-8bfc-4cf9-a920-242e8fde7056" providerId="ADAL" clId="{6FC6E936-F934-4CAF-9978-4FF4914385E3}" dt="2019-04-01T15:53:54.102" v="95" actId="14100"/>
          <ac:spMkLst>
            <pc:docMk/>
            <pc:sldMk cId="1863133937" sldId="477"/>
            <ac:spMk id="34" creationId="{00000000-0000-0000-0000-000000000000}"/>
          </ac:spMkLst>
        </pc:spChg>
        <pc:picChg chg="ord">
          <ac:chgData name="Jordi Gil Nieto" userId="dc92af6d-8bfc-4cf9-a920-242e8fde7056" providerId="ADAL" clId="{6FC6E936-F934-4CAF-9978-4FF4914385E3}" dt="2019-04-01T15:53:58.635" v="96" actId="166"/>
          <ac:picMkLst>
            <pc:docMk/>
            <pc:sldMk cId="1863133937" sldId="477"/>
            <ac:picMk id="18" creationId="{00000000-0000-0000-0000-000000000000}"/>
          </ac:picMkLst>
        </pc:picChg>
        <pc:picChg chg="del">
          <ac:chgData name="Jordi Gil Nieto" userId="dc92af6d-8bfc-4cf9-a920-242e8fde7056" providerId="ADAL" clId="{6FC6E936-F934-4CAF-9978-4FF4914385E3}" dt="2019-04-01T15:50:37.576" v="77" actId="478"/>
          <ac:picMkLst>
            <pc:docMk/>
            <pc:sldMk cId="1863133937" sldId="477"/>
            <ac:picMk id="19" creationId="{00000000-0000-0000-0000-000000000000}"/>
          </ac:picMkLst>
        </pc:picChg>
        <pc:picChg chg="add del mod">
          <ac:chgData name="Jordi Gil Nieto" userId="dc92af6d-8bfc-4cf9-a920-242e8fde7056" providerId="ADAL" clId="{6FC6E936-F934-4CAF-9978-4FF4914385E3}" dt="2019-04-01T15:52:10.478" v="88" actId="478"/>
          <ac:picMkLst>
            <pc:docMk/>
            <pc:sldMk cId="1863133937" sldId="477"/>
            <ac:picMk id="167938" creationId="{7311582A-0C44-4DBC-A339-BE8B75F2BE07}"/>
          </ac:picMkLst>
        </pc:picChg>
        <pc:picChg chg="add mod">
          <ac:chgData name="Jordi Gil Nieto" userId="dc92af6d-8bfc-4cf9-a920-242e8fde7056" providerId="ADAL" clId="{6FC6E936-F934-4CAF-9978-4FF4914385E3}" dt="2019-04-01T16:03:10.022" v="215" actId="14100"/>
          <ac:picMkLst>
            <pc:docMk/>
            <pc:sldMk cId="1863133937" sldId="477"/>
            <ac:picMk id="167940" creationId="{628D59FA-6D57-409B-A299-ECE5E00D026D}"/>
          </ac:picMkLst>
        </pc:picChg>
      </pc:sldChg>
    </pc:docChg>
  </pc:docChgLst>
  <pc:docChgLst>
    <pc:chgData name="Jordi Gil Nieto" userId="dc92af6d-8bfc-4cf9-a920-242e8fde7056" providerId="ADAL" clId="{9255EF45-4709-429C-912B-C1CD042754C0}"/>
    <pc:docChg chg="undo custSel addSld delSld modSld sldOrd modSection">
      <pc:chgData name="Jordi Gil Nieto" userId="dc92af6d-8bfc-4cf9-a920-242e8fde7056" providerId="ADAL" clId="{9255EF45-4709-429C-912B-C1CD042754C0}" dt="2019-04-25T11:42:18.272" v="1691" actId="2696"/>
      <pc:docMkLst>
        <pc:docMk/>
      </pc:docMkLst>
      <pc:sldChg chg="modSp">
        <pc:chgData name="Jordi Gil Nieto" userId="dc92af6d-8bfc-4cf9-a920-242e8fde7056" providerId="ADAL" clId="{9255EF45-4709-429C-912B-C1CD042754C0}" dt="2019-04-25T11:41:05.139" v="1684" actId="6549"/>
        <pc:sldMkLst>
          <pc:docMk/>
          <pc:sldMk cId="924214621" sldId="266"/>
        </pc:sldMkLst>
        <pc:spChg chg="mod">
          <ac:chgData name="Jordi Gil Nieto" userId="dc92af6d-8bfc-4cf9-a920-242e8fde7056" providerId="ADAL" clId="{9255EF45-4709-429C-912B-C1CD042754C0}" dt="2019-04-25T11:41:05.139" v="1684" actId="6549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Jordi Gil Nieto" userId="dc92af6d-8bfc-4cf9-a920-242e8fde7056" providerId="ADAL" clId="{9255EF45-4709-429C-912B-C1CD042754C0}" dt="2019-04-25T09:25:25.211" v="6" actId="20577"/>
        <pc:sldMkLst>
          <pc:docMk/>
          <pc:sldMk cId="1863133937" sldId="477"/>
        </pc:sldMkLst>
        <pc:spChg chg="mod">
          <ac:chgData name="Jordi Gil Nieto" userId="dc92af6d-8bfc-4cf9-a920-242e8fde7056" providerId="ADAL" clId="{9255EF45-4709-429C-912B-C1CD042754C0}" dt="2019-04-25T09:25:25.211" v="6" actId="20577"/>
          <ac:spMkLst>
            <pc:docMk/>
            <pc:sldMk cId="1863133937" sldId="477"/>
            <ac:spMk id="12" creationId="{C0FD4F4F-0130-4D9C-8FD2-DC97ED6CEC02}"/>
          </ac:spMkLst>
        </pc:spChg>
      </pc:sldChg>
      <pc:sldChg chg="addSp delSp modSp add ord">
        <pc:chgData name="Jordi Gil Nieto" userId="dc92af6d-8bfc-4cf9-a920-242e8fde7056" providerId="ADAL" clId="{9255EF45-4709-429C-912B-C1CD042754C0}" dt="2019-04-25T09:53:11.709" v="290" actId="1076"/>
        <pc:sldMkLst>
          <pc:docMk/>
          <pc:sldMk cId="2187780083" sldId="541"/>
        </pc:sldMkLst>
        <pc:spChg chg="add">
          <ac:chgData name="Jordi Gil Nieto" userId="dc92af6d-8bfc-4cf9-a920-242e8fde7056" providerId="ADAL" clId="{9255EF45-4709-429C-912B-C1CD042754C0}" dt="2019-04-25T09:51:44.747" v="275"/>
          <ac:spMkLst>
            <pc:docMk/>
            <pc:sldMk cId="2187780083" sldId="541"/>
            <ac:spMk id="14" creationId="{88057A74-9F6C-48EB-BE71-BC9B7945420A}"/>
          </ac:spMkLst>
        </pc:spChg>
        <pc:spChg chg="del">
          <ac:chgData name="Jordi Gil Nieto" userId="dc92af6d-8bfc-4cf9-a920-242e8fde7056" providerId="ADAL" clId="{9255EF45-4709-429C-912B-C1CD042754C0}" dt="2019-04-25T09:51:52.067" v="276" actId="478"/>
          <ac:spMkLst>
            <pc:docMk/>
            <pc:sldMk cId="2187780083" sldId="541"/>
            <ac:spMk id="15" creationId="{3AFA7131-3939-49EE-B632-35CE9DBA4657}"/>
          </ac:spMkLst>
        </pc:spChg>
        <pc:spChg chg="add mod">
          <ac:chgData name="Jordi Gil Nieto" userId="dc92af6d-8bfc-4cf9-a920-242e8fde7056" providerId="ADAL" clId="{9255EF45-4709-429C-912B-C1CD042754C0}" dt="2019-04-25T09:52:27.931" v="286" actId="14100"/>
          <ac:spMkLst>
            <pc:docMk/>
            <pc:sldMk cId="2187780083" sldId="541"/>
            <ac:spMk id="16" creationId="{37219389-D305-417F-8666-013A0F26B470}"/>
          </ac:spMkLst>
        </pc:spChg>
        <pc:spChg chg="add del">
          <ac:chgData name="Jordi Gil Nieto" userId="dc92af6d-8bfc-4cf9-a920-242e8fde7056" providerId="ADAL" clId="{9255EF45-4709-429C-912B-C1CD042754C0}" dt="2019-04-25T09:52:10.859" v="279"/>
          <ac:spMkLst>
            <pc:docMk/>
            <pc:sldMk cId="2187780083" sldId="541"/>
            <ac:spMk id="19" creationId="{68E9AE28-B686-4731-9228-8B648D1181CC}"/>
          </ac:spMkLst>
        </pc:spChg>
        <pc:spChg chg="add del">
          <ac:chgData name="Jordi Gil Nieto" userId="dc92af6d-8bfc-4cf9-a920-242e8fde7056" providerId="ADAL" clId="{9255EF45-4709-429C-912B-C1CD042754C0}" dt="2019-04-25T09:52:10.859" v="279"/>
          <ac:spMkLst>
            <pc:docMk/>
            <pc:sldMk cId="2187780083" sldId="541"/>
            <ac:spMk id="20" creationId="{2271AC5A-F069-4B2D-A17D-0BCF7AF1DA32}"/>
          </ac:spMkLst>
        </pc:spChg>
        <pc:spChg chg="del">
          <ac:chgData name="Jordi Gil Nieto" userId="dc92af6d-8bfc-4cf9-a920-242e8fde7056" providerId="ADAL" clId="{9255EF45-4709-429C-912B-C1CD042754C0}" dt="2019-04-25T09:36:32.651" v="67" actId="478"/>
          <ac:spMkLst>
            <pc:docMk/>
            <pc:sldMk cId="2187780083" sldId="541"/>
            <ac:spMk id="47" creationId="{00000000-0000-0000-0000-000000000000}"/>
          </ac:spMkLst>
        </pc:spChg>
        <pc:grpChg chg="add del">
          <ac:chgData name="Jordi Gil Nieto" userId="dc92af6d-8bfc-4cf9-a920-242e8fde7056" providerId="ADAL" clId="{9255EF45-4709-429C-912B-C1CD042754C0}" dt="2019-04-25T09:36:30.724" v="66" actId="478"/>
          <ac:grpSpMkLst>
            <pc:docMk/>
            <pc:sldMk cId="2187780083" sldId="541"/>
            <ac:grpSpMk id="25" creationId="{00000000-0000-0000-0000-000000000000}"/>
          </ac:grpSpMkLst>
        </pc:grpChg>
        <pc:picChg chg="add mod">
          <ac:chgData name="Jordi Gil Nieto" userId="dc92af6d-8bfc-4cf9-a920-242e8fde7056" providerId="ADAL" clId="{9255EF45-4709-429C-912B-C1CD042754C0}" dt="2019-04-25T09:53:11.709" v="290" actId="1076"/>
          <ac:picMkLst>
            <pc:docMk/>
            <pc:sldMk cId="2187780083" sldId="541"/>
            <ac:picMk id="2" creationId="{D5F0ADC6-56BE-41CC-BF5C-7B149CE35477}"/>
          </ac:picMkLst>
        </pc:picChg>
        <pc:picChg chg="add del">
          <ac:chgData name="Jordi Gil Nieto" userId="dc92af6d-8bfc-4cf9-a920-242e8fde7056" providerId="ADAL" clId="{9255EF45-4709-429C-912B-C1CD042754C0}" dt="2019-04-25T09:52:10.859" v="279"/>
          <ac:picMkLst>
            <pc:docMk/>
            <pc:sldMk cId="2187780083" sldId="541"/>
            <ac:picMk id="17" creationId="{51F46155-A803-4E8B-B97E-4F48CD858C56}"/>
          </ac:picMkLst>
        </pc:picChg>
        <pc:picChg chg="add del">
          <ac:chgData name="Jordi Gil Nieto" userId="dc92af6d-8bfc-4cf9-a920-242e8fde7056" providerId="ADAL" clId="{9255EF45-4709-429C-912B-C1CD042754C0}" dt="2019-04-25T09:52:10.859" v="279"/>
          <ac:picMkLst>
            <pc:docMk/>
            <pc:sldMk cId="2187780083" sldId="541"/>
            <ac:picMk id="18" creationId="{7A8F7C9F-1CBF-4EA8-B97D-247845E16591}"/>
          </ac:picMkLst>
        </pc:picChg>
      </pc:sldChg>
    </pc:docChg>
  </pc:docChgLst>
  <pc:docChgLst>
    <pc:chgData name="Jordi Gil Nieto" userId="dc92af6d-8bfc-4cf9-a920-242e8fde7056" providerId="ADAL" clId="{088F1218-0D76-4637-B3AC-E0A8508DD903}"/>
    <pc:docChg chg="undo custSel addSld delSld modSld modSection">
      <pc:chgData name="Jordi Gil Nieto" userId="dc92af6d-8bfc-4cf9-a920-242e8fde7056" providerId="ADAL" clId="{088F1218-0D76-4637-B3AC-E0A8508DD903}" dt="2019-05-15T06:28:52.751" v="605"/>
      <pc:docMkLst>
        <pc:docMk/>
      </pc:docMkLst>
      <pc:sldChg chg="modSp">
        <pc:chgData name="Jordi Gil Nieto" userId="dc92af6d-8bfc-4cf9-a920-242e8fde7056" providerId="ADAL" clId="{088F1218-0D76-4637-B3AC-E0A8508DD903}" dt="2019-05-13T16:02:10.699" v="476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088F1218-0D76-4637-B3AC-E0A8508DD903}" dt="2019-05-13T16:02:10.699" v="476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Jordi Gil Nieto" userId="dc92af6d-8bfc-4cf9-a920-242e8fde7056" providerId="ADAL" clId="{088F1218-0D76-4637-B3AC-E0A8508DD903}" dt="2019-05-13T12:12:56.719" v="7" actId="20577"/>
        <pc:sldMkLst>
          <pc:docMk/>
          <pc:sldMk cId="1863133937" sldId="477"/>
        </pc:sldMkLst>
        <pc:spChg chg="mod">
          <ac:chgData name="Jordi Gil Nieto" userId="dc92af6d-8bfc-4cf9-a920-242e8fde7056" providerId="ADAL" clId="{088F1218-0D76-4637-B3AC-E0A8508DD903}" dt="2019-05-13T12:12:56.719" v="7" actId="20577"/>
          <ac:spMkLst>
            <pc:docMk/>
            <pc:sldMk cId="1863133937" sldId="477"/>
            <ac:spMk id="12" creationId="{C0FD4F4F-0130-4D9C-8FD2-DC97ED6CEC02}"/>
          </ac:spMkLst>
        </pc:spChg>
      </pc:sldChg>
      <pc:sldChg chg="addSp delSp modSp modNotesTx">
        <pc:chgData name="Jordi Gil Nieto" userId="dc92af6d-8bfc-4cf9-a920-242e8fde7056" providerId="ADAL" clId="{088F1218-0D76-4637-B3AC-E0A8508DD903}" dt="2019-05-13T12:40:15.255" v="422" actId="1035"/>
        <pc:sldMkLst>
          <pc:docMk/>
          <pc:sldMk cId="2187780083" sldId="541"/>
        </pc:sldMkLst>
        <pc:spChg chg="del">
          <ac:chgData name="Jordi Gil Nieto" userId="dc92af6d-8bfc-4cf9-a920-242e8fde7056" providerId="ADAL" clId="{088F1218-0D76-4637-B3AC-E0A8508DD903}" dt="2019-05-13T12:13:27.768" v="32" actId="478"/>
          <ac:spMkLst>
            <pc:docMk/>
            <pc:sldMk cId="2187780083" sldId="541"/>
            <ac:spMk id="14" creationId="{88057A74-9F6C-48EB-BE71-BC9B7945420A}"/>
          </ac:spMkLst>
        </pc:spChg>
        <pc:spChg chg="del">
          <ac:chgData name="Jordi Gil Nieto" userId="dc92af6d-8bfc-4cf9-a920-242e8fde7056" providerId="ADAL" clId="{088F1218-0D76-4637-B3AC-E0A8508DD903}" dt="2019-05-13T12:13:33.319" v="33" actId="478"/>
          <ac:spMkLst>
            <pc:docMk/>
            <pc:sldMk cId="2187780083" sldId="541"/>
            <ac:spMk id="16" creationId="{37219389-D305-417F-8666-013A0F26B470}"/>
          </ac:spMkLst>
        </pc:spChg>
        <pc:spChg chg="add del mod">
          <ac:chgData name="Jordi Gil Nieto" userId="dc92af6d-8bfc-4cf9-a920-242e8fde7056" providerId="ADAL" clId="{088F1218-0D76-4637-B3AC-E0A8508DD903}" dt="2019-05-13T12:20:46.354" v="214" actId="478"/>
          <ac:spMkLst>
            <pc:docMk/>
            <pc:sldMk cId="2187780083" sldId="541"/>
            <ac:spMk id="17" creationId="{E95ADFFF-A7B1-4165-ADBC-5971309B0E68}"/>
          </ac:spMkLst>
        </pc:spChg>
        <pc:spChg chg="mod">
          <ac:chgData name="Jordi Gil Nieto" userId="dc92af6d-8bfc-4cf9-a920-242e8fde7056" providerId="ADAL" clId="{088F1218-0D76-4637-B3AC-E0A8508DD903}" dt="2019-05-13T12:13:24.979" v="31" actId="20577"/>
          <ac:spMkLst>
            <pc:docMk/>
            <pc:sldMk cId="2187780083" sldId="541"/>
            <ac:spMk id="46" creationId="{00000000-0000-0000-0000-000000000000}"/>
          </ac:spMkLst>
        </pc:spChg>
        <pc:graphicFrameChg chg="add mod modGraphic">
          <ac:chgData name="Jordi Gil Nieto" userId="dc92af6d-8bfc-4cf9-a920-242e8fde7056" providerId="ADAL" clId="{088F1218-0D76-4637-B3AC-E0A8508DD903}" dt="2019-05-13T12:23:29.405" v="371" actId="20577"/>
          <ac:graphicFrameMkLst>
            <pc:docMk/>
            <pc:sldMk cId="2187780083" sldId="541"/>
            <ac:graphicFrameMk id="3" creationId="{63F1EBA3-3167-4409-BEDE-BAFBEFCBB7F4}"/>
          </ac:graphicFrameMkLst>
        </pc:graphicFrameChg>
        <pc:picChg chg="del">
          <ac:chgData name="Jordi Gil Nieto" userId="dc92af6d-8bfc-4cf9-a920-242e8fde7056" providerId="ADAL" clId="{088F1218-0D76-4637-B3AC-E0A8508DD903}" dt="2019-05-13T12:13:36.287" v="34" actId="478"/>
          <ac:picMkLst>
            <pc:docMk/>
            <pc:sldMk cId="2187780083" sldId="541"/>
            <ac:picMk id="2" creationId="{D5F0ADC6-56BE-41CC-BF5C-7B149CE35477}"/>
          </ac:picMkLst>
        </pc:picChg>
        <pc:picChg chg="add del mod">
          <ac:chgData name="Jordi Gil Nieto" userId="dc92af6d-8bfc-4cf9-a920-242e8fde7056" providerId="ADAL" clId="{088F1218-0D76-4637-B3AC-E0A8508DD903}" dt="2019-05-13T12:17:06.532" v="42" actId="478"/>
          <ac:picMkLst>
            <pc:docMk/>
            <pc:sldMk cId="2187780083" sldId="541"/>
            <ac:picMk id="2052" creationId="{C495AAFE-2B54-47DE-A31F-4DFF741383DE}"/>
          </ac:picMkLst>
        </pc:picChg>
        <pc:picChg chg="add mod">
          <ac:chgData name="Jordi Gil Nieto" userId="dc92af6d-8bfc-4cf9-a920-242e8fde7056" providerId="ADAL" clId="{088F1218-0D76-4637-B3AC-E0A8508DD903}" dt="2019-05-13T12:17:52.631" v="46" actId="1076"/>
          <ac:picMkLst>
            <pc:docMk/>
            <pc:sldMk cId="2187780083" sldId="541"/>
            <ac:picMk id="2054" creationId="{4E1141BC-AACF-42D4-8A0F-EF0027CC49DD}"/>
          </ac:picMkLst>
        </pc:picChg>
        <pc:picChg chg="add mod">
          <ac:chgData name="Jordi Gil Nieto" userId="dc92af6d-8bfc-4cf9-a920-242e8fde7056" providerId="ADAL" clId="{088F1218-0D76-4637-B3AC-E0A8508DD903}" dt="2019-05-13T12:40:15.255" v="422" actId="1035"/>
          <ac:picMkLst>
            <pc:docMk/>
            <pc:sldMk cId="2187780083" sldId="541"/>
            <ac:picMk id="2056" creationId="{17F41C06-6C53-4E36-A157-F5E5898EF1C8}"/>
          </ac:picMkLst>
        </pc:picChg>
        <pc:picChg chg="add mod">
          <ac:chgData name="Jordi Gil Nieto" userId="dc92af6d-8bfc-4cf9-a920-242e8fde7056" providerId="ADAL" clId="{088F1218-0D76-4637-B3AC-E0A8508DD903}" dt="2019-05-13T12:25:07.798" v="417" actId="1037"/>
          <ac:picMkLst>
            <pc:docMk/>
            <pc:sldMk cId="2187780083" sldId="541"/>
            <ac:picMk id="2058" creationId="{EEBFABA3-317D-44B9-9D55-442362CECC33}"/>
          </ac:picMkLst>
        </pc:picChg>
      </pc:sldChg>
      <pc:sldChg chg="modSp add">
        <pc:chgData name="Jordi Gil Nieto" userId="dc92af6d-8bfc-4cf9-a920-242e8fde7056" providerId="ADAL" clId="{088F1218-0D76-4637-B3AC-E0A8508DD903}" dt="2019-05-13T16:02:16.576" v="485" actId="20577"/>
        <pc:sldMkLst>
          <pc:docMk/>
          <pc:sldMk cId="212795011" sldId="542"/>
        </pc:sldMkLst>
        <pc:spChg chg="mod">
          <ac:chgData name="Jordi Gil Nieto" userId="dc92af6d-8bfc-4cf9-a920-242e8fde7056" providerId="ADAL" clId="{088F1218-0D76-4637-B3AC-E0A8508DD903}" dt="2019-05-13T16:02:16.576" v="485" actId="20577"/>
          <ac:spMkLst>
            <pc:docMk/>
            <pc:sldMk cId="212795011" sldId="542"/>
            <ac:spMk id="46" creationId="{00000000-0000-0000-0000-000000000000}"/>
          </ac:spMkLst>
        </pc:spChg>
      </pc:sldChg>
      <pc:sldChg chg="addSp delSp modSp add">
        <pc:chgData name="Jordi Gil Nieto" userId="dc92af6d-8bfc-4cf9-a920-242e8fde7056" providerId="ADAL" clId="{088F1218-0D76-4637-B3AC-E0A8508DD903}" dt="2019-05-13T16:02:44.115" v="513" actId="20577"/>
        <pc:sldMkLst>
          <pc:docMk/>
          <pc:sldMk cId="2693953977" sldId="543"/>
        </pc:sldMkLst>
        <pc:spChg chg="add mod">
          <ac:chgData name="Jordi Gil Nieto" userId="dc92af6d-8bfc-4cf9-a920-242e8fde7056" providerId="ADAL" clId="{088F1218-0D76-4637-B3AC-E0A8508DD903}" dt="2019-05-13T15:02:19.348" v="467" actId="1076"/>
          <ac:spMkLst>
            <pc:docMk/>
            <pc:sldMk cId="2693953977" sldId="543"/>
            <ac:spMk id="2" creationId="{01A0220F-3A51-41CA-B080-D4784D169F55}"/>
          </ac:spMkLst>
        </pc:spChg>
        <pc:spChg chg="add mod">
          <ac:chgData name="Jordi Gil Nieto" userId="dc92af6d-8bfc-4cf9-a920-242e8fde7056" providerId="ADAL" clId="{088F1218-0D76-4637-B3AC-E0A8508DD903}" dt="2019-05-13T16:02:44.115" v="513" actId="20577"/>
          <ac:spMkLst>
            <pc:docMk/>
            <pc:sldMk cId="2693953977" sldId="543"/>
            <ac:spMk id="14" creationId="{8938422C-7FC8-4E17-A893-720F3A9CE914}"/>
          </ac:spMkLst>
        </pc:spChg>
        <pc:spChg chg="mod">
          <ac:chgData name="Jordi Gil Nieto" userId="dc92af6d-8bfc-4cf9-a920-242e8fde7056" providerId="ADAL" clId="{088F1218-0D76-4637-B3AC-E0A8508DD903}" dt="2019-05-13T16:02:21.412" v="494" actId="20577"/>
          <ac:spMkLst>
            <pc:docMk/>
            <pc:sldMk cId="2693953977" sldId="543"/>
            <ac:spMk id="46" creationId="{00000000-0000-0000-0000-000000000000}"/>
          </ac:spMkLst>
        </pc:spChg>
        <pc:graphicFrameChg chg="del modGraphic">
          <ac:chgData name="Jordi Gil Nieto" userId="dc92af6d-8bfc-4cf9-a920-242e8fde7056" providerId="ADAL" clId="{088F1218-0D76-4637-B3AC-E0A8508DD903}" dt="2019-05-13T15:00:06.683" v="455" actId="478"/>
          <ac:graphicFrameMkLst>
            <pc:docMk/>
            <pc:sldMk cId="2693953977" sldId="543"/>
            <ac:graphicFrameMk id="3" creationId="{63F1EBA3-3167-4409-BEDE-BAFBEFCBB7F4}"/>
          </ac:graphicFrameMkLst>
        </pc:graphicFrameChg>
        <pc:picChg chg="add mod">
          <ac:chgData name="Jordi Gil Nieto" userId="dc92af6d-8bfc-4cf9-a920-242e8fde7056" providerId="ADAL" clId="{088F1218-0D76-4637-B3AC-E0A8508DD903}" dt="2019-05-13T15:02:13.706" v="466" actId="1076"/>
          <ac:picMkLst>
            <pc:docMk/>
            <pc:sldMk cId="2693953977" sldId="543"/>
            <ac:picMk id="5" creationId="{0129E0E5-DEA0-4070-97E0-7705D0979188}"/>
          </ac:picMkLst>
        </pc:picChg>
        <pc:picChg chg="del">
          <ac:chgData name="Jordi Gil Nieto" userId="dc92af6d-8bfc-4cf9-a920-242e8fde7056" providerId="ADAL" clId="{088F1218-0D76-4637-B3AC-E0A8508DD903}" dt="2019-05-13T15:00:01.819" v="453" actId="478"/>
          <ac:picMkLst>
            <pc:docMk/>
            <pc:sldMk cId="2693953977" sldId="543"/>
            <ac:picMk id="2054" creationId="{4E1141BC-AACF-42D4-8A0F-EF0027CC49DD}"/>
          </ac:picMkLst>
        </pc:picChg>
        <pc:picChg chg="del">
          <ac:chgData name="Jordi Gil Nieto" userId="dc92af6d-8bfc-4cf9-a920-242e8fde7056" providerId="ADAL" clId="{088F1218-0D76-4637-B3AC-E0A8508DD903}" dt="2019-05-13T15:00:10.243" v="456" actId="478"/>
          <ac:picMkLst>
            <pc:docMk/>
            <pc:sldMk cId="2693953977" sldId="543"/>
            <ac:picMk id="2056" creationId="{17F41C06-6C53-4E36-A157-F5E5898EF1C8}"/>
          </ac:picMkLst>
        </pc:picChg>
        <pc:picChg chg="del">
          <ac:chgData name="Jordi Gil Nieto" userId="dc92af6d-8bfc-4cf9-a920-242e8fde7056" providerId="ADAL" clId="{088F1218-0D76-4637-B3AC-E0A8508DD903}" dt="2019-05-13T15:00:10.243" v="456" actId="478"/>
          <ac:picMkLst>
            <pc:docMk/>
            <pc:sldMk cId="2693953977" sldId="543"/>
            <ac:picMk id="2058" creationId="{EEBFABA3-317D-44B9-9D55-442362CECC33}"/>
          </ac:picMkLst>
        </pc:picChg>
      </pc:sldChg>
      <pc:sldChg chg="addSp delSp modSp add">
        <pc:chgData name="Jordi Gil Nieto" userId="dc92af6d-8bfc-4cf9-a920-242e8fde7056" providerId="ADAL" clId="{088F1218-0D76-4637-B3AC-E0A8508DD903}" dt="2019-05-15T06:28:52.751" v="605"/>
        <pc:sldMkLst>
          <pc:docMk/>
          <pc:sldMk cId="3700311645" sldId="544"/>
        </pc:sldMkLst>
        <pc:spChg chg="del">
          <ac:chgData name="Jordi Gil Nieto" userId="dc92af6d-8bfc-4cf9-a920-242e8fde7056" providerId="ADAL" clId="{088F1218-0D76-4637-B3AC-E0A8508DD903}" dt="2019-05-13T16:02:58.173" v="530" actId="478"/>
          <ac:spMkLst>
            <pc:docMk/>
            <pc:sldMk cId="3700311645" sldId="544"/>
            <ac:spMk id="2" creationId="{01A0220F-3A51-41CA-B080-D4784D169F55}"/>
          </ac:spMkLst>
        </pc:spChg>
        <pc:spChg chg="add mod">
          <ac:chgData name="Jordi Gil Nieto" userId="dc92af6d-8bfc-4cf9-a920-242e8fde7056" providerId="ADAL" clId="{088F1218-0D76-4637-B3AC-E0A8508DD903}" dt="2019-05-15T06:28:52.751" v="605"/>
          <ac:spMkLst>
            <pc:docMk/>
            <pc:sldMk cId="3700311645" sldId="544"/>
            <ac:spMk id="4" creationId="{FD9D0422-A09E-45AE-9AC3-BA8870F5AC41}"/>
          </ac:spMkLst>
        </pc:spChg>
        <pc:spChg chg="mod">
          <ac:chgData name="Jordi Gil Nieto" userId="dc92af6d-8bfc-4cf9-a920-242e8fde7056" providerId="ADAL" clId="{088F1218-0D76-4637-B3AC-E0A8508DD903}" dt="2019-05-13T16:02:54.016" v="528" actId="20577"/>
          <ac:spMkLst>
            <pc:docMk/>
            <pc:sldMk cId="3700311645" sldId="544"/>
            <ac:spMk id="14" creationId="{8938422C-7FC8-4E17-A893-720F3A9CE914}"/>
          </ac:spMkLst>
        </pc:spChg>
        <pc:graphicFrameChg chg="add mod modGraphic">
          <ac:chgData name="Jordi Gil Nieto" userId="dc92af6d-8bfc-4cf9-a920-242e8fde7056" providerId="ADAL" clId="{088F1218-0D76-4637-B3AC-E0A8508DD903}" dt="2019-05-13T16:06:34.510" v="596" actId="1036"/>
          <ac:graphicFrameMkLst>
            <pc:docMk/>
            <pc:sldMk cId="3700311645" sldId="544"/>
            <ac:graphicFrameMk id="3" creationId="{BE2D9408-E054-41D9-A977-1F922F3B86D9}"/>
          </ac:graphicFrameMkLst>
        </pc:graphicFrameChg>
        <pc:picChg chg="del">
          <ac:chgData name="Jordi Gil Nieto" userId="dc92af6d-8bfc-4cf9-a920-242e8fde7056" providerId="ADAL" clId="{088F1218-0D76-4637-B3AC-E0A8508DD903}" dt="2019-05-13T16:02:55.727" v="529" actId="478"/>
          <ac:picMkLst>
            <pc:docMk/>
            <pc:sldMk cId="3700311645" sldId="544"/>
            <ac:picMk id="5" creationId="{0129E0E5-DEA0-4070-97E0-7705D0979188}"/>
          </ac:picMkLst>
        </pc:picChg>
        <pc:picChg chg="add mod">
          <ac:chgData name="Jordi Gil Nieto" userId="dc92af6d-8bfc-4cf9-a920-242e8fde7056" providerId="ADAL" clId="{088F1218-0D76-4637-B3AC-E0A8508DD903}" dt="2019-05-13T16:07:18.900" v="603" actId="1076"/>
          <ac:picMkLst>
            <pc:docMk/>
            <pc:sldMk cId="3700311645" sldId="544"/>
            <ac:picMk id="4098" creationId="{D536D2F5-D6C6-4F91-87D8-A023CB486253}"/>
          </ac:picMkLst>
        </pc:picChg>
      </pc:sldChg>
    </pc:docChg>
  </pc:docChgLst>
  <pc:docChgLst>
    <pc:chgData name="Daniel Amores Alvarez" userId="S::damoresa@everis.com::ff5997fe-a964-45d1-b9c2-852633b5230a" providerId="AD" clId="Web-{DDA335D0-ED4A-49DD-945A-E0F0E08834E0}"/>
    <pc:docChg chg="modSld">
      <pc:chgData name="Daniel Amores Alvarez" userId="S::damoresa@everis.com::ff5997fe-a964-45d1-b9c2-852633b5230a" providerId="AD" clId="Web-{DDA335D0-ED4A-49DD-945A-E0F0E08834E0}" dt="2020-01-07T13:05:44.523" v="13"/>
      <pc:docMkLst>
        <pc:docMk/>
      </pc:docMkLst>
      <pc:sldChg chg="modSp">
        <pc:chgData name="Daniel Amores Alvarez" userId="S::damoresa@everis.com::ff5997fe-a964-45d1-b9c2-852633b5230a" providerId="AD" clId="Web-{DDA335D0-ED4A-49DD-945A-E0F0E08834E0}" dt="2020-01-07T13:05:44.523" v="13"/>
        <pc:sldMkLst>
          <pc:docMk/>
          <pc:sldMk cId="2187780083" sldId="541"/>
        </pc:sldMkLst>
        <pc:graphicFrameChg chg="mod modGraphic">
          <ac:chgData name="Daniel Amores Alvarez" userId="S::damoresa@everis.com::ff5997fe-a964-45d1-b9c2-852633b5230a" providerId="AD" clId="Web-{DDA335D0-ED4A-49DD-945A-E0F0E08834E0}" dt="2020-01-07T13:05:44.523" v="13"/>
          <ac:graphicFrameMkLst>
            <pc:docMk/>
            <pc:sldMk cId="2187780083" sldId="541"/>
            <ac:graphicFrameMk id="3" creationId="{63F1EBA3-3167-4409-BEDE-BAFBEFCBB7F4}"/>
          </ac:graphicFrameMkLst>
        </pc:graphicFrameChg>
      </pc:sldChg>
    </pc:docChg>
  </pc:docChgLst>
  <pc:docChgLst>
    <pc:chgData name="Daniel Amores Alvarez" userId="S::damoresa@everis.com::ff5997fe-a964-45d1-b9c2-852633b5230a" providerId="AD" clId="Web-{AD50A7E3-8C3D-4AF7-B3B8-A8486E60E09A}"/>
    <pc:docChg chg="modSld">
      <pc:chgData name="Daniel Amores Alvarez" userId="S::damoresa@everis.com::ff5997fe-a964-45d1-b9c2-852633b5230a" providerId="AD" clId="Web-{AD50A7E3-8C3D-4AF7-B3B8-A8486E60E09A}" dt="2020-01-17T18:01:51.293" v="378" actId="20577"/>
      <pc:docMkLst>
        <pc:docMk/>
      </pc:docMkLst>
      <pc:sldChg chg="modSp">
        <pc:chgData name="Daniel Amores Alvarez" userId="S::damoresa@everis.com::ff5997fe-a964-45d1-b9c2-852633b5230a" providerId="AD" clId="Web-{AD50A7E3-8C3D-4AF7-B3B8-A8486E60E09A}" dt="2020-01-17T17:57:36.759" v="65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AD50A7E3-8C3D-4AF7-B3B8-A8486E60E09A}" dt="2020-01-17T17:57:36.759" v="65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 modShow">
        <pc:chgData name="Daniel Amores Alvarez" userId="S::damoresa@everis.com::ff5997fe-a964-45d1-b9c2-852633b5230a" providerId="AD" clId="Web-{AD50A7E3-8C3D-4AF7-B3B8-A8486E60E09A}" dt="2020-01-17T17:57:41.244" v="66"/>
        <pc:sldMkLst>
          <pc:docMk/>
          <pc:sldMk cId="212795011" sldId="542"/>
        </pc:sldMkLst>
      </pc:sldChg>
      <pc:sldChg chg="mod modShow">
        <pc:chgData name="Daniel Amores Alvarez" userId="S::damoresa@everis.com::ff5997fe-a964-45d1-b9c2-852633b5230a" providerId="AD" clId="Web-{AD50A7E3-8C3D-4AF7-B3B8-A8486E60E09A}" dt="2020-01-17T17:57:22.713" v="50"/>
        <pc:sldMkLst>
          <pc:docMk/>
          <pc:sldMk cId="2693953977" sldId="543"/>
        </pc:sldMkLst>
      </pc:sldChg>
      <pc:sldChg chg="modSp">
        <pc:chgData name="Daniel Amores Alvarez" userId="S::damoresa@everis.com::ff5997fe-a964-45d1-b9c2-852633b5230a" providerId="AD" clId="Web-{AD50A7E3-8C3D-4AF7-B3B8-A8486E60E09A}" dt="2020-01-17T18:01:50.684" v="376" actId="20577"/>
        <pc:sldMkLst>
          <pc:docMk/>
          <pc:sldMk cId="3700311645" sldId="544"/>
        </pc:sldMkLst>
        <pc:spChg chg="mod">
          <ac:chgData name="Daniel Amores Alvarez" userId="S::damoresa@everis.com::ff5997fe-a964-45d1-b9c2-852633b5230a" providerId="AD" clId="Web-{AD50A7E3-8C3D-4AF7-B3B8-A8486E60E09A}" dt="2020-01-17T18:01:50.684" v="376" actId="20577"/>
          <ac:spMkLst>
            <pc:docMk/>
            <pc:sldMk cId="3700311645" sldId="544"/>
            <ac:spMk id="4" creationId="{FD9D0422-A09E-45AE-9AC3-BA8870F5AC41}"/>
          </ac:spMkLst>
        </pc:spChg>
        <pc:graphicFrameChg chg="mod modGraphic">
          <ac:chgData name="Daniel Amores Alvarez" userId="S::damoresa@everis.com::ff5997fe-a964-45d1-b9c2-852633b5230a" providerId="AD" clId="Web-{AD50A7E3-8C3D-4AF7-B3B8-A8486E60E09A}" dt="2020-01-17T18:01:45.121" v="375"/>
          <ac:graphicFrameMkLst>
            <pc:docMk/>
            <pc:sldMk cId="3700311645" sldId="544"/>
            <ac:graphicFrameMk id="3" creationId="{BE2D9408-E054-41D9-A977-1F922F3B86D9}"/>
          </ac:graphicFrameMkLst>
        </pc:graphicFrameChg>
      </pc:sldChg>
      <pc:sldChg chg="modSp">
        <pc:chgData name="Daniel Amores Alvarez" userId="S::damoresa@everis.com::ff5997fe-a964-45d1-b9c2-852633b5230a" providerId="AD" clId="Web-{AD50A7E3-8C3D-4AF7-B3B8-A8486E60E09A}" dt="2020-01-17T17:57:14.103" v="49"/>
        <pc:sldMkLst>
          <pc:docMk/>
          <pc:sldMk cId="3299215848" sldId="545"/>
        </pc:sldMkLst>
        <pc:graphicFrameChg chg="mod modGraphic">
          <ac:chgData name="Daniel Amores Alvarez" userId="S::damoresa@everis.com::ff5997fe-a964-45d1-b9c2-852633b5230a" providerId="AD" clId="Web-{AD50A7E3-8C3D-4AF7-B3B8-A8486E60E09A}" dt="2020-01-17T17:57:14.103" v="49"/>
          <ac:graphicFrameMkLst>
            <pc:docMk/>
            <pc:sldMk cId="3299215848" sldId="545"/>
            <ac:graphicFrameMk id="3" creationId="{63F1EBA3-3167-4409-BEDE-BAFBEFCBB7F4}"/>
          </ac:graphicFrameMkLst>
        </pc:graphicFrameChg>
      </pc:sldChg>
    </pc:docChg>
  </pc:docChgLst>
  <pc:docChgLst>
    <pc:chgData name="Daniel Amores Alvarez" userId="S::damoresa@everis.com::ff5997fe-a964-45d1-b9c2-852633b5230a" providerId="AD" clId="Web-{9D664EEF-1CA7-4B54-8CD7-06107DBFB3AE}"/>
    <pc:docChg chg="modSld">
      <pc:chgData name="Daniel Amores Alvarez" userId="S::damoresa@everis.com::ff5997fe-a964-45d1-b9c2-852633b5230a" providerId="AD" clId="Web-{9D664EEF-1CA7-4B54-8CD7-06107DBFB3AE}" dt="2020-01-18T18:21:00.718" v="10" actId="20577"/>
      <pc:docMkLst>
        <pc:docMk/>
      </pc:docMkLst>
      <pc:sldChg chg="modSp">
        <pc:chgData name="Daniel Amores Alvarez" userId="S::damoresa@everis.com::ff5997fe-a964-45d1-b9c2-852633b5230a" providerId="AD" clId="Web-{9D664EEF-1CA7-4B54-8CD7-06107DBFB3AE}" dt="2020-01-18T18:21:00.593" v="9" actId="20577"/>
        <pc:sldMkLst>
          <pc:docMk/>
          <pc:sldMk cId="3700311645" sldId="544"/>
        </pc:sldMkLst>
        <pc:spChg chg="mod">
          <ac:chgData name="Daniel Amores Alvarez" userId="S::damoresa@everis.com::ff5997fe-a964-45d1-b9c2-852633b5230a" providerId="AD" clId="Web-{9D664EEF-1CA7-4B54-8CD7-06107DBFB3AE}" dt="2020-01-18T18:21:00.593" v="9" actId="20577"/>
          <ac:spMkLst>
            <pc:docMk/>
            <pc:sldMk cId="3700311645" sldId="544"/>
            <ac:spMk id="4" creationId="{FD9D0422-A09E-45AE-9AC3-BA8870F5AC41}"/>
          </ac:spMkLst>
        </pc:spChg>
      </pc:sldChg>
    </pc:docChg>
  </pc:docChgLst>
  <pc:docChgLst>
    <pc:chgData name="Daniel Amores Alvarez" userId="S::damoresa@everis.com::ff5997fe-a964-45d1-b9c2-852633b5230a" providerId="AD" clId="Web-{38312769-C840-4D06-B6C9-59B259549003}"/>
    <pc:docChg chg="modSld">
      <pc:chgData name="Daniel Amores Alvarez" userId="S::damoresa@everis.com::ff5997fe-a964-45d1-b9c2-852633b5230a" providerId="AD" clId="Web-{38312769-C840-4D06-B6C9-59B259549003}" dt="2020-01-22T10:35:18.986" v="137"/>
      <pc:docMkLst>
        <pc:docMk/>
      </pc:docMkLst>
      <pc:sldChg chg="modSp">
        <pc:chgData name="Daniel Amores Alvarez" userId="S::damoresa@everis.com::ff5997fe-a964-45d1-b9c2-852633b5230a" providerId="AD" clId="Web-{38312769-C840-4D06-B6C9-59B259549003}" dt="2020-01-22T10:35:18.986" v="137"/>
        <pc:sldMkLst>
          <pc:docMk/>
          <pc:sldMk cId="3700311645" sldId="544"/>
        </pc:sldMkLst>
        <pc:graphicFrameChg chg="mod modGraphic">
          <ac:chgData name="Daniel Amores Alvarez" userId="S::damoresa@everis.com::ff5997fe-a964-45d1-b9c2-852633b5230a" providerId="AD" clId="Web-{38312769-C840-4D06-B6C9-59B259549003}" dt="2020-01-22T10:35:18.986" v="137"/>
          <ac:graphicFrameMkLst>
            <pc:docMk/>
            <pc:sldMk cId="3700311645" sldId="544"/>
            <ac:graphicFrameMk id="3" creationId="{BE2D9408-E054-41D9-A977-1F922F3B86D9}"/>
          </ac:graphicFrameMkLst>
        </pc:graphicFrameChg>
      </pc:sldChg>
    </pc:docChg>
  </pc:docChgLst>
  <pc:docChgLst>
    <pc:chgData name="Daniel Amores Alvarez" userId="S::damoresa@everis.com::ff5997fe-a964-45d1-b9c2-852633b5230a" providerId="AD" clId="Web-{DB3B056A-862B-47DF-BB47-44F74BA49139}"/>
    <pc:docChg chg="addSld modSld modSection">
      <pc:chgData name="Daniel Amores Alvarez" userId="S::damoresa@everis.com::ff5997fe-a964-45d1-b9c2-852633b5230a" providerId="AD" clId="Web-{DB3B056A-862B-47DF-BB47-44F74BA49139}" dt="2020-01-07T11:02:42.603" v="745"/>
      <pc:docMkLst>
        <pc:docMk/>
      </pc:docMkLst>
      <pc:sldChg chg="modSp">
        <pc:chgData name="Daniel Amores Alvarez" userId="S::damoresa@everis.com::ff5997fe-a964-45d1-b9c2-852633b5230a" providerId="AD" clId="Web-{DB3B056A-862B-47DF-BB47-44F74BA49139}" dt="2020-01-07T10:51:15.162" v="53" actId="20577"/>
        <pc:sldMkLst>
          <pc:docMk/>
          <pc:sldMk cId="1863133937" sldId="477"/>
        </pc:sldMkLst>
        <pc:spChg chg="mod">
          <ac:chgData name="Daniel Amores Alvarez" userId="S::damoresa@everis.com::ff5997fe-a964-45d1-b9c2-852633b5230a" providerId="AD" clId="Web-{DB3B056A-862B-47DF-BB47-44F74BA49139}" dt="2020-01-07T10:51:09.522" v="44" actId="20577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Daniel Amores Alvarez" userId="S::damoresa@everis.com::ff5997fe-a964-45d1-b9c2-852633b5230a" providerId="AD" clId="Web-{DB3B056A-862B-47DF-BB47-44F74BA49139}" dt="2020-01-07T10:51:15.162" v="53" actId="20577"/>
          <ac:spMkLst>
            <pc:docMk/>
            <pc:sldMk cId="1863133937" sldId="477"/>
            <ac:spMk id="11" creationId="{00000000-0000-0000-0000-000000000000}"/>
          </ac:spMkLst>
        </pc:spChg>
      </pc:sldChg>
      <pc:sldChg chg="addSp modSp">
        <pc:chgData name="Daniel Amores Alvarez" userId="S::damoresa@everis.com::ff5997fe-a964-45d1-b9c2-852633b5230a" providerId="AD" clId="Web-{DB3B056A-862B-47DF-BB47-44F74BA49139}" dt="2020-01-07T10:59:25.727" v="506" actId="20577"/>
        <pc:sldMkLst>
          <pc:docMk/>
          <pc:sldMk cId="2187780083" sldId="541"/>
        </pc:sldMkLst>
        <pc:spChg chg="add mod">
          <ac:chgData name="Daniel Amores Alvarez" userId="S::damoresa@everis.com::ff5997fe-a964-45d1-b9c2-852633b5230a" providerId="AD" clId="Web-{DB3B056A-862B-47DF-BB47-44F74BA49139}" dt="2020-01-07T10:59:25.727" v="506" actId="20577"/>
          <ac:spMkLst>
            <pc:docMk/>
            <pc:sldMk cId="2187780083" sldId="541"/>
            <ac:spMk id="2" creationId="{212DBBB4-CDF7-435F-9ABE-8FE692249FB5}"/>
          </ac:spMkLst>
        </pc:spChg>
        <pc:graphicFrameChg chg="mod modGraphic">
          <ac:chgData name="Daniel Amores Alvarez" userId="S::damoresa@everis.com::ff5997fe-a964-45d1-b9c2-852633b5230a" providerId="AD" clId="Web-{DB3B056A-862B-47DF-BB47-44F74BA49139}" dt="2020-01-07T10:58:45.961" v="496"/>
          <ac:graphicFrameMkLst>
            <pc:docMk/>
            <pc:sldMk cId="2187780083" sldId="541"/>
            <ac:graphicFrameMk id="3" creationId="{63F1EBA3-3167-4409-BEDE-BAFBEFCBB7F4}"/>
          </ac:graphicFrameMkLst>
        </pc:graphicFrameChg>
        <pc:picChg chg="mod">
          <ac:chgData name="Daniel Amores Alvarez" userId="S::damoresa@everis.com::ff5997fe-a964-45d1-b9c2-852633b5230a" providerId="AD" clId="Web-{DB3B056A-862B-47DF-BB47-44F74BA49139}" dt="2020-01-07T10:55:49.288" v="321" actId="1076"/>
          <ac:picMkLst>
            <pc:docMk/>
            <pc:sldMk cId="2187780083" sldId="541"/>
            <ac:picMk id="2056" creationId="{17F41C06-6C53-4E36-A157-F5E5898EF1C8}"/>
          </ac:picMkLst>
        </pc:picChg>
      </pc:sldChg>
      <pc:sldChg chg="modSp add replId">
        <pc:chgData name="Daniel Amores Alvarez" userId="S::damoresa@everis.com::ff5997fe-a964-45d1-b9c2-852633b5230a" providerId="AD" clId="Web-{DB3B056A-862B-47DF-BB47-44F74BA49139}" dt="2020-01-07T11:02:42.603" v="745"/>
        <pc:sldMkLst>
          <pc:docMk/>
          <pc:sldMk cId="3299215848" sldId="545"/>
        </pc:sldMkLst>
        <pc:spChg chg="mod">
          <ac:chgData name="Daniel Amores Alvarez" userId="S::damoresa@everis.com::ff5997fe-a964-45d1-b9c2-852633b5230a" providerId="AD" clId="Web-{DB3B056A-862B-47DF-BB47-44F74BA49139}" dt="2020-01-07T10:59:30.024" v="512" actId="20577"/>
          <ac:spMkLst>
            <pc:docMk/>
            <pc:sldMk cId="3299215848" sldId="545"/>
            <ac:spMk id="2" creationId="{212DBBB4-CDF7-435F-9ABE-8FE692249FB5}"/>
          </ac:spMkLst>
        </pc:spChg>
        <pc:graphicFrameChg chg="mod modGraphic">
          <ac:chgData name="Daniel Amores Alvarez" userId="S::damoresa@everis.com::ff5997fe-a964-45d1-b9c2-852633b5230a" providerId="AD" clId="Web-{DB3B056A-862B-47DF-BB47-44F74BA49139}" dt="2020-01-07T11:02:42.603" v="745"/>
          <ac:graphicFrameMkLst>
            <pc:docMk/>
            <pc:sldMk cId="3299215848" sldId="545"/>
            <ac:graphicFrameMk id="3" creationId="{63F1EBA3-3167-4409-BEDE-BAFBEFCBB7F4}"/>
          </ac:graphicFrameMkLst>
        </pc:graphicFrameChg>
        <pc:picChg chg="mod">
          <ac:chgData name="Daniel Amores Alvarez" userId="S::damoresa@everis.com::ff5997fe-a964-45d1-b9c2-852633b5230a" providerId="AD" clId="Web-{DB3B056A-862B-47DF-BB47-44F74BA49139}" dt="2020-01-07T11:02:30.868" v="738" actId="1076"/>
          <ac:picMkLst>
            <pc:docMk/>
            <pc:sldMk cId="3299215848" sldId="545"/>
            <ac:picMk id="2056" creationId="{17F41C06-6C53-4E36-A157-F5E5898EF1C8}"/>
          </ac:picMkLst>
        </pc:picChg>
        <pc:picChg chg="mod">
          <ac:chgData name="Daniel Amores Alvarez" userId="S::damoresa@everis.com::ff5997fe-a964-45d1-b9c2-852633b5230a" providerId="AD" clId="Web-{DB3B056A-862B-47DF-BB47-44F74BA49139}" dt="2020-01-07T11:02:36.040" v="739" actId="1076"/>
          <ac:picMkLst>
            <pc:docMk/>
            <pc:sldMk cId="3299215848" sldId="545"/>
            <ac:picMk id="2058" creationId="{EEBFABA3-317D-44B9-9D55-442362CECC3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40C02-C639-4C32-B791-20C4E12FD2D8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AB200-DB0D-4364-B1E6-7086E9FDF12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2622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2515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62968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626761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8853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3255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906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08501" y="173125"/>
            <a:ext cx="1056112" cy="60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Objeto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568610" y="6291094"/>
            <a:ext cx="459316" cy="627405"/>
          </a:xfrm>
          <a:prstGeom prst="rect">
            <a:avLst/>
          </a:prstGeom>
          <a:ln w="3175">
            <a:miter lim="400000"/>
          </a:ln>
        </p:spPr>
        <p:txBody>
          <a:bodyPr lIns="26125" tIns="26125" rIns="26125" bIns="26125" anchor="ctr">
            <a:spAutoFit/>
          </a:bodyPr>
          <a:lstStyle>
            <a:lvl1pPr algn="r" defTabSz="825500">
              <a:defRPr sz="14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6pPr>
            <a:lvl7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7pPr>
            <a:lvl8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8pPr>
            <a:lvl9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E60061AB-E3E3-4B82-98B1-945D99ABF5FB}" type="slidenum">
              <a:rPr lang="es-ES" sz="1867" smtClean="0"/>
              <a:pPr/>
              <a:t>‹Nº›</a:t>
            </a:fld>
            <a:endParaRPr lang="es-ES" sz="1867" dirty="0"/>
          </a:p>
        </p:txBody>
      </p:sp>
    </p:spTree>
    <p:extLst>
      <p:ext uri="{BB962C8B-B14F-4D97-AF65-F5344CB8AC3E}">
        <p14:creationId xmlns:p14="http://schemas.microsoft.com/office/powerpoint/2010/main" val="4756595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4"/>
          <p:cNvSpPr/>
          <p:nvPr userDrawn="1"/>
        </p:nvSpPr>
        <p:spPr>
          <a:xfrm>
            <a:off x="11658323" y="6475790"/>
            <a:ext cx="388561" cy="2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rgbClr val="B5B5B5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endParaRPr sz="899" dirty="0">
              <a:solidFill>
                <a:srgbClr val="96969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hape 93"/>
          <p:cNvSpPr/>
          <p:nvPr userDrawn="1"/>
        </p:nvSpPr>
        <p:spPr>
          <a:xfrm flipV="1">
            <a:off x="972107" y="-1"/>
            <a:ext cx="1" cy="736049"/>
          </a:xfrm>
          <a:prstGeom prst="line">
            <a:avLst/>
          </a:prstGeom>
          <a:noFill/>
          <a:ln w="12700" cap="flat">
            <a:solidFill>
              <a:srgbClr val="FFFFFF"/>
            </a:solidFill>
            <a:prstDash val="sysDot"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 algn="l" defTabSz="456695">
              <a:defRPr sz="600">
                <a:latin typeface="+mj-lt"/>
                <a:ea typeface="+mj-ea"/>
                <a:cs typeface="+mj-cs"/>
                <a:sym typeface="Helvetica"/>
              </a:defRPr>
            </a:pPr>
            <a:endParaRPr sz="599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37524" y="6498391"/>
            <a:ext cx="505464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061AB-E3E3-4B82-98B1-945D99ABF5FB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203315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209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3271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605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750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0275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307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145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28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E057A-C0F9-41E1-BA24-0931FC6E2932}" type="datetimeFigureOut">
              <a:rPr lang="es-ES" smtClean="0"/>
              <a:t>11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66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12" Type="http://schemas.openxmlformats.org/officeDocument/2006/relationships/hyperlink" Target="https://training.linuxfoundation.org/wp-content/uploads/2020/06/JSNSD-Important-Tips-v1.3.pdf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png"/><Relationship Id="rId5" Type="http://schemas.openxmlformats.org/officeDocument/2006/relationships/image" Target="../media/image12.pn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Entrada manual"/>
          <p:cNvSpPr/>
          <p:nvPr/>
        </p:nvSpPr>
        <p:spPr>
          <a:xfrm flipH="1">
            <a:off x="0" y="803614"/>
            <a:ext cx="9914082" cy="4963059"/>
          </a:xfrm>
          <a:prstGeom prst="flowChartManualInput">
            <a:avLst/>
          </a:prstGeom>
          <a:solidFill>
            <a:srgbClr val="537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99" dirty="0">
              <a:latin typeface="Century Gothic" panose="020B050202020202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868719" y="5041408"/>
            <a:ext cx="1755609" cy="33086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550" dirty="0">
                <a:solidFill>
                  <a:schemeClr val="bg1"/>
                </a:solidFill>
                <a:latin typeface="Century Gothic"/>
                <a:ea typeface="Helvetica Neue Thin" charset="0"/>
                <a:cs typeface="Helvetica Neue Thin" charset="0"/>
              </a:rPr>
              <a:t>September 2020</a:t>
            </a:r>
            <a:endParaRPr lang="en-US" sz="1598" dirty="0">
              <a:solidFill>
                <a:schemeClr val="bg1"/>
              </a:solidFill>
              <a:latin typeface="Century Gothic" panose="020B0502020202020204" pitchFamily="34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858422" y="5509741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858422" y="4899998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733300" y="1675882"/>
            <a:ext cx="6800502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JSNSD</a:t>
            </a:r>
          </a:p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OpenJS Node.js services developer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 rot="325252">
            <a:off x="3112607" y="801484"/>
            <a:ext cx="9180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4 Rectángulo">
            <a:extLst>
              <a:ext uri="{FF2B5EF4-FFF2-40B4-BE49-F238E27FC236}">
                <a16:creationId xmlns:a16="http://schemas.microsoft.com/office/drawing/2014/main" id="{C0FD4F4F-0130-4D9C-8FD2-DC97ED6CEC02}"/>
              </a:ext>
            </a:extLst>
          </p:cNvPr>
          <p:cNvSpPr/>
          <p:nvPr/>
        </p:nvSpPr>
        <p:spPr>
          <a:xfrm>
            <a:off x="733300" y="3409578"/>
            <a:ext cx="6800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Recommendations</a:t>
            </a:r>
          </a:p>
        </p:txBody>
      </p:sp>
      <p:sp>
        <p:nvSpPr>
          <p:cNvPr id="34" name="Rectángulo 33"/>
          <p:cNvSpPr/>
          <p:nvPr/>
        </p:nvSpPr>
        <p:spPr>
          <a:xfrm rot="325252">
            <a:off x="-58662" y="650535"/>
            <a:ext cx="12364709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image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912" y="252275"/>
            <a:ext cx="1757316" cy="931815"/>
          </a:xfrm>
          <a:prstGeom prst="rect">
            <a:avLst/>
          </a:prstGeom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106" name="Picture 2">
            <a:extLst>
              <a:ext uri="{FF2B5EF4-FFF2-40B4-BE49-F238E27FC236}">
                <a16:creationId xmlns:a16="http://schemas.microsoft.com/office/drawing/2014/main" id="{080FAB76-7BAE-554C-BB22-08C731E37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955" y="1485470"/>
            <a:ext cx="4589273" cy="458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3133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General tips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46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General tips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DE11DB5-AE78-7441-AB7A-2259A1E19DEC}"/>
              </a:ext>
            </a:extLst>
          </p:cNvPr>
          <p:cNvSpPr/>
          <p:nvPr/>
        </p:nvSpPr>
        <p:spPr>
          <a:xfrm>
            <a:off x="1760561" y="1193523"/>
            <a:ext cx="10198221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Exam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Use your favorite framework. While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covers all requirements it is important that you’re fluent and proficient at the framework you use during the exam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The exam lasts two hours and while the exercises are not very complicated, you may run out of time if you over-engineer the solutions. Try to </a:t>
            </a:r>
            <a:r>
              <a:rPr lang="en-US" sz="2000" i="1" dirty="0">
                <a:latin typeface="Century Gothic"/>
              </a:rPr>
              <a:t>KISS</a:t>
            </a:r>
            <a:r>
              <a:rPr lang="en-US" sz="2000" dirty="0">
                <a:latin typeface="Century Gothic"/>
              </a:rPr>
              <a:t> (</a:t>
            </a:r>
            <a:r>
              <a:rPr lang="en-US" sz="2000" i="1" dirty="0">
                <a:latin typeface="Century Gothic"/>
              </a:rPr>
              <a:t>Keep It Simple, Stupid</a:t>
            </a:r>
            <a:r>
              <a:rPr lang="en-US" sz="2000" dirty="0">
                <a:latin typeface="Century Gothic"/>
              </a:rPr>
              <a:t>) since code format or quality was not evaluated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Most exercises involve implementing </a:t>
            </a:r>
            <a:r>
              <a:rPr lang="en-US" sz="2000" i="1" dirty="0">
                <a:latin typeface="Century Gothic"/>
              </a:rPr>
              <a:t>request handlers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 err="1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Many of the exercises involved implementing a service which consumed a set of other services and managed errors or success as expected. </a:t>
            </a:r>
            <a:r>
              <a:rPr lang="en-US" sz="2000" b="1" dirty="0">
                <a:latin typeface="Century Gothic"/>
              </a:rPr>
              <a:t>No code is provided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b="1" dirty="0">
                <a:latin typeface="Century Gothic"/>
              </a:rPr>
              <a:t>at all</a:t>
            </a:r>
            <a:r>
              <a:rPr lang="en-US" sz="2000" dirty="0">
                <a:latin typeface="Century Gothic"/>
              </a:rPr>
              <a:t>, meaning you have you implement mock services to test your solutions – </a:t>
            </a:r>
            <a:r>
              <a:rPr lang="en-US" sz="2000" b="1" dirty="0">
                <a:latin typeface="Century Gothic"/>
              </a:rPr>
              <a:t>remember to remove your mocks</a:t>
            </a:r>
            <a:r>
              <a:rPr lang="en-US" sz="2000" dirty="0">
                <a:latin typeface="Century Gothic"/>
              </a:rPr>
              <a:t> after testing, </a:t>
            </a:r>
            <a:r>
              <a:rPr lang="en-US" sz="2000" dirty="0" err="1">
                <a:latin typeface="Century Gothic"/>
              </a:rPr>
              <a:t>tho</a:t>
            </a:r>
            <a:r>
              <a:rPr lang="en-US" sz="2000" dirty="0">
                <a:latin typeface="Century Gothic"/>
              </a:rPr>
              <a:t>!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Exam validation seems to be run in a unit-test fashion – your code is executed and there’s some tool creating the environment and performing the required requests to validate test scenarios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You must score 70 – 75 out of 100 to pass the exam.</a:t>
            </a:r>
          </a:p>
        </p:txBody>
      </p:sp>
      <p:pic>
        <p:nvPicPr>
          <p:cNvPr id="9" name="Imagen 8" descr="Imagen que contiene firmar, señal, computadora&#10;&#10;Descripción generada automáticamente">
            <a:extLst>
              <a:ext uri="{FF2B5EF4-FFF2-40B4-BE49-F238E27FC236}">
                <a16:creationId xmlns:a16="http://schemas.microsoft.com/office/drawing/2014/main" id="{FC7F5D10-D3DE-F34D-A003-3EB51C5C30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1445118"/>
            <a:ext cx="1257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5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dibujo, señal&#10;&#10;Descripción generada automáticamente">
            <a:extLst>
              <a:ext uri="{FF2B5EF4-FFF2-40B4-BE49-F238E27FC236}">
                <a16:creationId xmlns:a16="http://schemas.microsoft.com/office/drawing/2014/main" id="{E0882D7C-B5A4-4742-9FFB-9EB1B7797A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1445118"/>
            <a:ext cx="1257300" cy="1257300"/>
          </a:xfrm>
          <a:prstGeom prst="rect">
            <a:avLst/>
          </a:prstGeom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General tips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DE11DB5-AE78-7441-AB7A-2259A1E19DEC}"/>
              </a:ext>
            </a:extLst>
          </p:cNvPr>
          <p:cNvSpPr/>
          <p:nvPr/>
        </p:nvSpPr>
        <p:spPr>
          <a:xfrm>
            <a:off x="1760561" y="1193523"/>
            <a:ext cx="10198221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Practice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It is </a:t>
            </a:r>
            <a:r>
              <a:rPr lang="en-US" sz="2000" b="1" dirty="0">
                <a:latin typeface="Century Gothic"/>
              </a:rPr>
              <a:t>very important</a:t>
            </a:r>
            <a:r>
              <a:rPr lang="en-US" sz="2000" dirty="0">
                <a:latin typeface="Century Gothic"/>
              </a:rPr>
              <a:t> that you are very proficient with </a:t>
            </a:r>
            <a:r>
              <a:rPr lang="en-US" sz="2000" b="1" dirty="0">
                <a:latin typeface="Century Gothic"/>
              </a:rPr>
              <a:t>flow control mechanisms</a:t>
            </a:r>
            <a:r>
              <a:rPr lang="en-US" sz="2000" dirty="0">
                <a:latin typeface="Century Gothic"/>
              </a:rPr>
              <a:t> as they’ll help you tackle the complexities of consuming multiple services.</a:t>
            </a:r>
            <a:br>
              <a:rPr lang="en-US" sz="2000" dirty="0">
                <a:latin typeface="Century Gothic"/>
              </a:rPr>
            </a:br>
            <a:r>
              <a:rPr lang="en-US" sz="2000" dirty="0">
                <a:latin typeface="Century Gothic"/>
              </a:rPr>
              <a:t>I </a:t>
            </a:r>
            <a:r>
              <a:rPr lang="en-US" sz="2000" b="1" dirty="0">
                <a:latin typeface="Century Gothic"/>
              </a:rPr>
              <a:t>highly recommend using </a:t>
            </a:r>
            <a:r>
              <a:rPr lang="en-US" sz="2000" b="1" i="1" dirty="0">
                <a:latin typeface="Century Gothic"/>
              </a:rPr>
              <a:t>async/await</a:t>
            </a:r>
            <a:r>
              <a:rPr lang="en-US" sz="2000" b="1" dirty="0"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as it keeps code much easier to read and to tweak as required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While you can use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>
                <a:latin typeface="Century Gothic"/>
              </a:rPr>
              <a:t>NodeJS</a:t>
            </a:r>
            <a:r>
              <a:rPr lang="en-US" sz="2000" dirty="0">
                <a:latin typeface="Century Gothic"/>
              </a:rPr>
              <a:t> official documentation, it is also recommended that you bake in most of the basics as checking everything out through the documentation will quickly consume the 2 exam hours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Since it’s very probable that you may have to implement mocks during the exam, get familiar on how to start a very basic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(or whatever framework you aim at using) service which can serve as a mock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More tips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The official tips can be found </a:t>
            </a:r>
            <a:r>
              <a:rPr lang="en-US" sz="2000" dirty="0">
                <a:latin typeface="Century Gothic"/>
                <a:hlinkClick r:id="rId12"/>
              </a:rPr>
              <a:t>here</a:t>
            </a:r>
            <a:r>
              <a:rPr lang="en-US" sz="2000" dirty="0">
                <a:latin typeface="Century Gothic"/>
              </a:rPr>
              <a:t>.</a:t>
            </a:r>
          </a:p>
        </p:txBody>
      </p:sp>
      <p:pic>
        <p:nvPicPr>
          <p:cNvPr id="4" name="Imagen 3" descr="Imagen que contiene dibujo, señal&#10;&#10;Descripción generada automáticamente">
            <a:extLst>
              <a:ext uri="{FF2B5EF4-FFF2-40B4-BE49-F238E27FC236}">
                <a16:creationId xmlns:a16="http://schemas.microsoft.com/office/drawing/2014/main" id="{1B49956C-C701-DF4E-8EC1-25D446A8718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5138022"/>
            <a:ext cx="1257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827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r="8170" b="7848"/>
          <a:stretch/>
        </p:blipFill>
        <p:spPr>
          <a:xfrm>
            <a:off x="0" y="-88417"/>
            <a:ext cx="12300155" cy="6943023"/>
          </a:xfrm>
          <a:prstGeom prst="rect">
            <a:avLst/>
          </a:prstGeom>
          <a:effectLst>
            <a:glow rad="127000">
              <a:schemeClr val="accent1">
                <a:alpha val="51000"/>
              </a:schemeClr>
            </a:glow>
          </a:effectLst>
        </p:spPr>
      </p:pic>
      <p:sp>
        <p:nvSpPr>
          <p:cNvPr id="27" name="16 Rectángulo"/>
          <p:cNvSpPr/>
          <p:nvPr/>
        </p:nvSpPr>
        <p:spPr>
          <a:xfrm>
            <a:off x="1" y="-27384"/>
            <a:ext cx="122979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 dirty="0">
              <a:solidFill>
                <a:srgbClr val="000000"/>
              </a:solidFill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723900" y="828152"/>
            <a:ext cx="4947775" cy="3134297"/>
            <a:chOff x="1792374" y="1998274"/>
            <a:chExt cx="4947775" cy="3134297"/>
          </a:xfrm>
        </p:grpSpPr>
        <p:sp>
          <p:nvSpPr>
            <p:cNvPr id="3" name="2 Rectángulo"/>
            <p:cNvSpPr/>
            <p:nvPr/>
          </p:nvSpPr>
          <p:spPr>
            <a:xfrm>
              <a:off x="1792374" y="1998274"/>
              <a:ext cx="4947775" cy="3013493"/>
            </a:xfrm>
            <a:prstGeom prst="rect">
              <a:avLst/>
            </a:prstGeom>
          </p:spPr>
          <p:txBody>
            <a:bodyPr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rgentin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elgium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razil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hile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olombi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France</a:t>
              </a:r>
            </a:p>
            <a:p>
              <a:pPr>
                <a:lnSpc>
                  <a:spcPct val="150000"/>
                </a:lnSpc>
              </a:pPr>
              <a:r>
                <a:rPr lang="es-ES" sz="2097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Españ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Italy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exico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erú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ortugal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nited</a:t>
              </a: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 </a:t>
              </a: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Kingdom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SA</a:t>
              </a:r>
            </a:p>
          </p:txBody>
        </p:sp>
        <p:sp>
          <p:nvSpPr>
            <p:cNvPr id="4" name="3 Rectángulo"/>
            <p:cNvSpPr/>
            <p:nvPr/>
          </p:nvSpPr>
          <p:spPr>
            <a:xfrm>
              <a:off x="3444979" y="3317206"/>
              <a:ext cx="2028636" cy="1514621"/>
            </a:xfrm>
            <a:prstGeom prst="rect">
              <a:avLst/>
            </a:prstGeom>
          </p:spPr>
          <p:txBody>
            <a:bodyPr wrap="square"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398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arcelona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vda. Diagonal, 605 4a planta 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08028 Barcelona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Tel.: 34 93 494 77 00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ov</a:t>
              </a: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: 34 692 288 378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www.everis.com</a:t>
              </a:r>
            </a:p>
          </p:txBody>
        </p:sp>
        <p:cxnSp>
          <p:nvCxnSpPr>
            <p:cNvPr id="15" name="14 Conector recto"/>
            <p:cNvCxnSpPr/>
            <p:nvPr/>
          </p:nvCxnSpPr>
          <p:spPr>
            <a:xfrm flipH="1">
              <a:off x="1832029" y="5132571"/>
              <a:ext cx="3760414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" name="9 Conector recto"/>
            <p:cNvCxnSpPr/>
            <p:nvPr/>
          </p:nvCxnSpPr>
          <p:spPr>
            <a:xfrm>
              <a:off x="2858849" y="3500928"/>
              <a:ext cx="540000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28858" y="4117875"/>
            <a:ext cx="719284" cy="2624699"/>
          </a:xfrm>
          <a:prstGeom prst="rect">
            <a:avLst/>
          </a:prstGeom>
        </p:spPr>
      </p:pic>
      <p:grpSp>
        <p:nvGrpSpPr>
          <p:cNvPr id="21" name="Grupo 20"/>
          <p:cNvGrpSpPr/>
          <p:nvPr/>
        </p:nvGrpSpPr>
        <p:grpSpPr>
          <a:xfrm>
            <a:off x="8115961" y="2180790"/>
            <a:ext cx="1618527" cy="1098285"/>
            <a:chOff x="10261455" y="2506524"/>
            <a:chExt cx="4222312" cy="2787337"/>
          </a:xfrm>
        </p:grpSpPr>
        <p:grpSp>
          <p:nvGrpSpPr>
            <p:cNvPr id="22" name="Grupo 21"/>
            <p:cNvGrpSpPr/>
            <p:nvPr/>
          </p:nvGrpSpPr>
          <p:grpSpPr>
            <a:xfrm>
              <a:off x="10261455" y="3546887"/>
              <a:ext cx="4222312" cy="1746974"/>
              <a:chOff x="3775011" y="1773238"/>
              <a:chExt cx="2110912" cy="873386"/>
            </a:xfrm>
          </p:grpSpPr>
          <p:sp>
            <p:nvSpPr>
              <p:cNvPr id="24" name="Shape 339"/>
              <p:cNvSpPr/>
              <p:nvPr/>
            </p:nvSpPr>
            <p:spPr>
              <a:xfrm>
                <a:off x="3775011" y="2646624"/>
                <a:ext cx="2110912" cy="0"/>
              </a:xfrm>
              <a:prstGeom prst="lin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txBody>
              <a:bodyPr lIns="45674" rIns="45674"/>
              <a:lstStyle/>
              <a:p>
                <a:endParaRPr lang="en-GB" sz="3596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Shape 442"/>
              <p:cNvSpPr/>
              <p:nvPr/>
            </p:nvSpPr>
            <p:spPr>
              <a:xfrm>
                <a:off x="4700718" y="1773238"/>
                <a:ext cx="92396" cy="76949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none" lIns="45674" rIns="45674">
                <a:spAutoFit/>
              </a:bodyPr>
              <a:lstStyle>
                <a:lvl1pPr defTabSz="457200">
                  <a:lnSpc>
                    <a:spcPct val="110000"/>
                  </a:lnSpc>
                  <a:defRPr sz="1600" b="1">
                    <a:solidFill>
                      <a:srgbClr val="7B234B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lvl1pPr>
              </a:lstStyle>
              <a:p>
                <a:pPr algn="ctr"/>
                <a:endParaRPr lang="en-GB" sz="3996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5" descr="\\usersad.everis.int\enterprise_files\Spain\Madrid\Proyectos\Customer Experience\1.Cosas Diseño\11 - Logos everis NTT DATA\eve+ntt_logo_invertido-blanc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4402" y="2506524"/>
              <a:ext cx="3976420" cy="22154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4633057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cWcA9xEig.kVe72TE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DFA0D424492F4488FD19F0313A4A8E" ma:contentTypeVersion="7" ma:contentTypeDescription="Crear nuevo documento." ma:contentTypeScope="" ma:versionID="a0796ebe79cd66ddbdc362b7ec60ade8">
  <xsd:schema xmlns:xsd="http://www.w3.org/2001/XMLSchema" xmlns:xs="http://www.w3.org/2001/XMLSchema" xmlns:p="http://schemas.microsoft.com/office/2006/metadata/properties" xmlns:ns2="70b275a6-ebc4-4329-823d-2f0b076e2e90" targetNamespace="http://schemas.microsoft.com/office/2006/metadata/properties" ma:root="true" ma:fieldsID="31de4d5ed18746f823219e0e97876651" ns2:_="">
    <xsd:import namespace="70b275a6-ebc4-4329-823d-2f0b076e2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275a6-ebc4-4329-823d-2f0b076e2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87B398-6F69-4596-B747-F4443ED899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C9874C-90C9-48AB-899E-70770E9BADC6}"/>
</file>

<file path=customXml/itemProps3.xml><?xml version="1.0" encoding="utf-8"?>
<ds:datastoreItem xmlns:ds="http://schemas.openxmlformats.org/officeDocument/2006/customXml" ds:itemID="{FBE8D0B7-5162-41EA-8FFF-09AC3CCD2764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3b5cbd70-4536-4d86-a81c-1376e5bb7150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77</TotalTime>
  <Words>377</Words>
  <Application>Microsoft Macintosh PowerPoint</Application>
  <PresentationFormat>Panorámica</PresentationFormat>
  <Paragraphs>42</Paragraphs>
  <Slides>5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Wingdings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veri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rgio Paños Hernandez</dc:creator>
  <cp:lastModifiedBy>Daniel Amores Alvarez</cp:lastModifiedBy>
  <cp:revision>465</cp:revision>
  <dcterms:created xsi:type="dcterms:W3CDTF">2017-05-23T11:06:23Z</dcterms:created>
  <dcterms:modified xsi:type="dcterms:W3CDTF">2020-12-11T09:4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DFA0D424492F4488FD19F0313A4A8E</vt:lpwstr>
  </property>
</Properties>
</file>